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0.xml" ContentType="application/vnd.openxmlformats-officedocument.presentationml.tags+xml"/>
  <Override PartName="/ppt/notesSlides/notesSlide23.xml" ContentType="application/vnd.openxmlformats-officedocument.presentationml.notesSlide+xml"/>
  <Override PartName="/ppt/tags/tag21.xml" ContentType="application/vnd.openxmlformats-officedocument.presentationml.tags+xml"/>
  <Override PartName="/ppt/notesSlides/notesSlide24.xml" ContentType="application/vnd.openxmlformats-officedocument.presentationml.notesSlide+xml"/>
  <Override PartName="/ppt/tags/tag22.xml" ContentType="application/vnd.openxmlformats-officedocument.presentationml.tags+xml"/>
  <Override PartName="/ppt/notesSlides/notesSlide25.xml" ContentType="application/vnd.openxmlformats-officedocument.presentationml.notesSlide+xml"/>
  <Override PartName="/ppt/tags/tag23.xml" ContentType="application/vnd.openxmlformats-officedocument.presentationml.tags+xml"/>
  <Override PartName="/ppt/notesSlides/notesSlide26.xml" ContentType="application/vnd.openxmlformats-officedocument.presentationml.notesSlide+xml"/>
  <Override PartName="/ppt/tags/tag24.xml" ContentType="application/vnd.openxmlformats-officedocument.presentationml.tags+xml"/>
  <Override PartName="/ppt/notesSlides/notesSlide27.xml" ContentType="application/vnd.openxmlformats-officedocument.presentationml.notesSlide+xml"/>
  <Override PartName="/ppt/tags/tag25.xml" ContentType="application/vnd.openxmlformats-officedocument.presentationml.tags+xml"/>
  <Override PartName="/ppt/notesSlides/notesSlide28.xml" ContentType="application/vnd.openxmlformats-officedocument.presentationml.notesSlide+xml"/>
  <Override PartName="/ppt/tags/tag26.xml" ContentType="application/vnd.openxmlformats-officedocument.presentationml.tags+xml"/>
  <Override PartName="/ppt/notesSlides/notesSlide29.xml" ContentType="application/vnd.openxmlformats-officedocument.presentationml.notesSlide+xml"/>
  <Override PartName="/ppt/tags/tag27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28.xml" ContentType="application/vnd.openxmlformats-officedocument.presentationml.tags+xml"/>
  <Override PartName="/ppt/notesSlides/notesSlide34.xml" ContentType="application/vnd.openxmlformats-officedocument.presentationml.notesSlide+xml"/>
  <Override PartName="/ppt/tags/tag29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tags/tag30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tags/tag31.xml" ContentType="application/vnd.openxmlformats-officedocument.presentationml.tags+xml"/>
  <Override PartName="/ppt/notesSlides/notesSlide5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2"/>
  </p:notesMasterIdLst>
  <p:sldIdLst>
    <p:sldId id="256" r:id="rId2"/>
    <p:sldId id="308" r:id="rId3"/>
    <p:sldId id="300" r:id="rId4"/>
    <p:sldId id="257" r:id="rId5"/>
    <p:sldId id="301" r:id="rId6"/>
    <p:sldId id="258" r:id="rId7"/>
    <p:sldId id="306" r:id="rId8"/>
    <p:sldId id="307" r:id="rId9"/>
    <p:sldId id="259" r:id="rId10"/>
    <p:sldId id="284" r:id="rId11"/>
    <p:sldId id="291" r:id="rId12"/>
    <p:sldId id="282" r:id="rId13"/>
    <p:sldId id="292" r:id="rId14"/>
    <p:sldId id="305" r:id="rId15"/>
    <p:sldId id="261" r:id="rId16"/>
    <p:sldId id="262" r:id="rId17"/>
    <p:sldId id="283" r:id="rId18"/>
    <p:sldId id="285" r:id="rId19"/>
    <p:sldId id="293" r:id="rId20"/>
    <p:sldId id="263" r:id="rId21"/>
    <p:sldId id="264" r:id="rId22"/>
    <p:sldId id="265" r:id="rId23"/>
    <p:sldId id="286" r:id="rId24"/>
    <p:sldId id="295" r:id="rId25"/>
    <p:sldId id="287" r:id="rId26"/>
    <p:sldId id="294" r:id="rId27"/>
    <p:sldId id="288" r:id="rId28"/>
    <p:sldId id="296" r:id="rId29"/>
    <p:sldId id="289" r:id="rId30"/>
    <p:sldId id="297" r:id="rId31"/>
    <p:sldId id="266" r:id="rId32"/>
    <p:sldId id="267" r:id="rId33"/>
    <p:sldId id="268" r:id="rId34"/>
    <p:sldId id="290" r:id="rId35"/>
    <p:sldId id="303" r:id="rId36"/>
    <p:sldId id="270" r:id="rId37"/>
    <p:sldId id="271" r:id="rId38"/>
    <p:sldId id="302" r:id="rId39"/>
    <p:sldId id="272" r:id="rId40"/>
    <p:sldId id="273" r:id="rId41"/>
    <p:sldId id="274" r:id="rId42"/>
    <p:sldId id="275" r:id="rId43"/>
    <p:sldId id="276" r:id="rId44"/>
    <p:sldId id="277" r:id="rId45"/>
    <p:sldId id="278" r:id="rId46"/>
    <p:sldId id="279" r:id="rId47"/>
    <p:sldId id="280" r:id="rId48"/>
    <p:sldId id="298" r:id="rId49"/>
    <p:sldId id="299" r:id="rId50"/>
    <p:sldId id="304" r:id="rId51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53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71" autoAdjust="0"/>
  </p:normalViewPr>
  <p:slideViewPr>
    <p:cSldViewPr snapToGrid="0" showGuides="1">
      <p:cViewPr>
        <p:scale>
          <a:sx n="50" d="100"/>
          <a:sy n="50" d="100"/>
        </p:scale>
        <p:origin x="1262" y="3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81701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18821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48CDC23F-5815-265D-5964-B7CCBE578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A50CB36B-B4DB-2F04-1E9E-171BD8256D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50DA718F-DBF1-F88F-DD8A-26E81BB305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680AB3E3-1BBC-C94A-C8CC-71D1DE13FDF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8430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E428A4FD-39D7-C90D-7EF9-F31AC9844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4A010343-F21A-3788-D412-DA6547EF81F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7CC8E8BE-25D6-46FF-B8F8-00A4BD1A25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718AD8E4-DA74-6772-7E0A-7BED13AEF21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77202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83633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44eaf56fbf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344eaf56fbf_3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g344eaf56fbf_3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70238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19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530055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>
          <a:extLst>
            <a:ext uri="{FF2B5EF4-FFF2-40B4-BE49-F238E27FC236}">
              <a16:creationId xmlns:a16="http://schemas.microsoft.com/office/drawing/2014/main" id="{8C011F40-AD43-99FE-A8B2-9F4A6A4591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>
            <a:extLst>
              <a:ext uri="{FF2B5EF4-FFF2-40B4-BE49-F238E27FC236}">
                <a16:creationId xmlns:a16="http://schemas.microsoft.com/office/drawing/2014/main" id="{904D1962-E5A3-3D38-153A-7067D32B5C1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>
            <a:extLst>
              <a:ext uri="{FF2B5EF4-FFF2-40B4-BE49-F238E27FC236}">
                <a16:creationId xmlns:a16="http://schemas.microsoft.com/office/drawing/2014/main" id="{00C00387-52EA-0AFA-AC90-73202BEDD66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>
            <a:extLst>
              <a:ext uri="{FF2B5EF4-FFF2-40B4-BE49-F238E27FC236}">
                <a16:creationId xmlns:a16="http://schemas.microsoft.com/office/drawing/2014/main" id="{2CBA5438-700E-1FB1-9ACA-BF44E7D2390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69132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36f76ef2d7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36f76ef2d7d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g36f76ef2d7d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25689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77878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268998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5847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7224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3293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f76ef2d7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6f76ef2d7d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g36f76ef2d7d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14183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BBE7D3EB-1F26-C392-7502-708C5845C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8FC8F6F8-1ADA-51E8-E3CB-BB36B191AC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0871B23E-EA7E-B258-3212-79768B950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C0209A62-164D-C537-5B34-A58ED0742C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69583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90762D62-2287-06E7-6816-09A92571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7F498797-2FD5-E7D4-AB2D-31F1878CBD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EDC655D8-EE3F-D2E7-D798-BC0BAB6372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50C298A4-0236-8A3C-EA70-C7FB526563F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5622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59F0BB22-B006-F7E5-981D-0BBE1C889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FAD71BED-2083-4B56-1446-A6521767DF6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2E6A0ABF-1BBB-63A9-CD05-FA7BC30ED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70CFAF65-8022-5F33-A6DE-50EAFD37A9B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55768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36f76ef2d7d_1_5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92" name="Google Shape;192;g36f76ef2d7d_1_5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93" name="Google Shape;193;g36f76ef2d7d_1_56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27476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54048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37229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276970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59905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6.xml"/><Relationship Id="rId6" Type="http://schemas.openxmlformats.org/officeDocument/2006/relationships/image" Target="../media/image1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8.xml"/><Relationship Id="rId6" Type="http://schemas.openxmlformats.org/officeDocument/2006/relationships/image" Target="../media/image2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0.xml"/><Relationship Id="rId6" Type="http://schemas.openxmlformats.org/officeDocument/2006/relationships/image" Target="../media/image2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1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2.xml"/><Relationship Id="rId6" Type="http://schemas.openxmlformats.org/officeDocument/2006/relationships/image" Target="../media/image2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4.xml"/><Relationship Id="rId6" Type="http://schemas.openxmlformats.org/officeDocument/2006/relationships/image" Target="../media/image2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6.xml"/><Relationship Id="rId6" Type="http://schemas.openxmlformats.org/officeDocument/2006/relationships/image" Target="../media/image3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2.x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7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8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8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29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0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3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1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7440" y="3176"/>
            <a:ext cx="1105987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245035" y="1780988"/>
            <a:ext cx="10747395" cy="177501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5074024" y="1069788"/>
            <a:ext cx="2139576" cy="711200"/>
          </a:xfrm>
          <a:prstGeom prst="straightConnector1">
            <a:avLst/>
          </a:prstGeom>
          <a:ln w="95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7309224" y="908425"/>
            <a:ext cx="2061882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245035" y="3603812"/>
            <a:ext cx="10638118" cy="331096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032376" y="4990354"/>
            <a:ext cx="1631577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ile</a:t>
            </a:r>
          </a:p>
        </p:txBody>
      </p:sp>
    </p:spTree>
    <p:extLst>
      <p:ext uri="{BB962C8B-B14F-4D97-AF65-F5344CB8AC3E}">
        <p14:creationId xmlns:p14="http://schemas.microsoft.com/office/powerpoint/2010/main" val="41485289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36837" y="755632"/>
            <a:ext cx="2061882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1189317" y="773072"/>
            <a:ext cx="1631577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7" y="1566472"/>
            <a:ext cx="36935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5" y="1566472"/>
            <a:ext cx="55990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</a:p>
          <a:p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4A9A5AB-EFDC-C3AC-DEB0-2F770FC80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5607" y="973190"/>
            <a:ext cx="3913209" cy="5258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B4653D-0AD3-3F5A-3D5F-3B0053202B3A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0000"/>
                </a:solidFill>
              </a:rPr>
              <a:t>Get user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C7CEEC-2894-4B55-2755-E9B28EDC2884}"/>
              </a:ext>
            </a:extLst>
          </p:cNvPr>
          <p:cNvSpPr txBox="1"/>
          <p:nvPr/>
        </p:nvSpPr>
        <p:spPr>
          <a:xfrm>
            <a:off x="5984111" y="2864734"/>
            <a:ext cx="45199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845873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FE779233-0E2B-F275-0C1B-76CD4DE8D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8D8FB9EE-DFD3-A45D-9C12-81BFE5FBD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92FB74-62A0-258C-A0FC-9E98A1B18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188" y="859899"/>
            <a:ext cx="10671811" cy="5991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8859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A65292A6-B20A-3346-40D6-3A53728A04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B0A630C1-5575-C0F9-8D60-AA7E1D60BB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39" name="Google Shape;239;g344eaf56fbf_3_36">
            <a:extLst>
              <a:ext uri="{FF2B5EF4-FFF2-40B4-BE49-F238E27FC236}">
                <a16:creationId xmlns:a16="http://schemas.microsoft.com/office/drawing/2014/main" id="{3F5F7D27-FB1E-8C48-E435-1536F99E0A0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399" y="1250400"/>
            <a:ext cx="11887201" cy="34187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86676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0B9BEA-4013-3680-6F36-93D9C1EB2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4075" y="0"/>
            <a:ext cx="5667769" cy="6858000"/>
          </a:xfrm>
          <a:prstGeom prst="rect">
            <a:avLst/>
          </a:prstGeom>
        </p:spPr>
      </p:pic>
      <p:sp>
        <p:nvSpPr>
          <p:cNvPr id="238" name="Google Shape;238;g344eaf56fbf_3_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2E823B-27CA-1FD8-C346-7311B08F25F7}"/>
              </a:ext>
            </a:extLst>
          </p:cNvPr>
          <p:cNvSpPr txBox="1"/>
          <p:nvPr/>
        </p:nvSpPr>
        <p:spPr>
          <a:xfrm>
            <a:off x="1814153" y="2497211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tx1"/>
                </a:solidFill>
              </a:rPr>
              <a:t>SettingKey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93FDD4-73F8-0C89-F2EF-28278602E2D2}"/>
              </a:ext>
            </a:extLst>
          </p:cNvPr>
          <p:cNvSpPr txBox="1"/>
          <p:nvPr/>
        </p:nvSpPr>
        <p:spPr>
          <a:xfrm>
            <a:off x="1316141" y="4240845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SettingValue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1E871EF-6032-D160-5D19-7CE5785B5042}"/>
              </a:ext>
            </a:extLst>
          </p:cNvPr>
          <p:cNvCxnSpPr>
            <a:cxnSpLocks/>
            <a:stCxn id="3" idx="3"/>
          </p:cNvCxnSpPr>
          <p:nvPr/>
        </p:nvCxnSpPr>
        <p:spPr>
          <a:xfrm flipV="1">
            <a:off x="4121071" y="2698229"/>
            <a:ext cx="1170928" cy="52982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B1372FE-4577-E11D-E415-85ACBFED6716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3623059" y="4494845"/>
            <a:ext cx="1668940" cy="654276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BC1949B-B0AC-74EC-132A-4011E2504146}"/>
              </a:ext>
            </a:extLst>
          </p:cNvPr>
          <p:cNvSpPr/>
          <p:nvPr/>
        </p:nvSpPr>
        <p:spPr>
          <a:xfrm>
            <a:off x="5160411" y="2212879"/>
            <a:ext cx="2345961" cy="749509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7907E2-104C-42CA-AC15-690C68B8C0E0}"/>
              </a:ext>
            </a:extLst>
          </p:cNvPr>
          <p:cNvSpPr/>
          <p:nvPr/>
        </p:nvSpPr>
        <p:spPr>
          <a:xfrm>
            <a:off x="5291999" y="4494846"/>
            <a:ext cx="2345961" cy="154869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44eaf56fbf_3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etting Sample Data</a:t>
            </a:r>
            <a:endParaRPr/>
          </a:p>
        </p:txBody>
      </p:sp>
      <p:pic>
        <p:nvPicPr>
          <p:cNvPr id="246" name="Google Shape;246;g344eaf56fbf_3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2000" y="899775"/>
            <a:ext cx="9910902" cy="64454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5074FA-91E2-A929-B105-92B9A62DA299}"/>
              </a:ext>
            </a:extLst>
          </p:cNvPr>
          <p:cNvSpPr txBox="1"/>
          <p:nvPr/>
        </p:nvSpPr>
        <p:spPr>
          <a:xfrm>
            <a:off x="3268199" y="2602753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bg1"/>
                </a:solidFill>
              </a:rPr>
              <a:t>SettingKe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5FA01-E8A7-88A0-ACD1-C892B9134BAE}"/>
              </a:ext>
            </a:extLst>
          </p:cNvPr>
          <p:cNvSpPr txBox="1"/>
          <p:nvPr/>
        </p:nvSpPr>
        <p:spPr>
          <a:xfrm>
            <a:off x="3038105" y="4075953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SettingValue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1CA3E3A-0509-357D-81CE-CD215B73A732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2037976" y="2602753"/>
            <a:ext cx="1230223" cy="254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1A2C53-DC12-7525-D3B7-AAC51A87C1A7}"/>
              </a:ext>
            </a:extLst>
          </p:cNvPr>
          <p:cNvSpPr/>
          <p:nvPr/>
        </p:nvSpPr>
        <p:spPr>
          <a:xfrm>
            <a:off x="484094" y="2336800"/>
            <a:ext cx="1553882" cy="57374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DBD514-6332-1F1D-6980-0D68163479E7}"/>
              </a:ext>
            </a:extLst>
          </p:cNvPr>
          <p:cNvSpPr/>
          <p:nvPr/>
        </p:nvSpPr>
        <p:spPr>
          <a:xfrm>
            <a:off x="484094" y="2982259"/>
            <a:ext cx="1673412" cy="87854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06EC768-F22F-1241-1B71-445D51359136}"/>
              </a:ext>
            </a:extLst>
          </p:cNvPr>
          <p:cNvCxnSpPr>
            <a:cxnSpLocks/>
            <a:stCxn id="5" idx="1"/>
            <a:endCxn id="10" idx="3"/>
          </p:cNvCxnSpPr>
          <p:nvPr/>
        </p:nvCxnSpPr>
        <p:spPr>
          <a:xfrm flipH="1" flipV="1">
            <a:off x="2157506" y="3421530"/>
            <a:ext cx="880599" cy="908423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00C9F84-FD1A-957D-4881-6187304A7AED}"/>
              </a:ext>
            </a:extLst>
          </p:cNvPr>
          <p:cNvSpPr txBox="1"/>
          <p:nvPr/>
        </p:nvSpPr>
        <p:spPr>
          <a:xfrm>
            <a:off x="6229648" y="2232620"/>
            <a:ext cx="39723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0453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5770"/>
            <a:ext cx="12192000" cy="66664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3831015" y="1920211"/>
            <a:ext cx="2677459" cy="448235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arred object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6B63637-6C83-F171-D838-ED9382B5D061}"/>
              </a:ext>
            </a:extLst>
          </p:cNvPr>
          <p:cNvCxnSpPr>
            <a:stCxn id="5" idx="1"/>
          </p:cNvCxnSpPr>
          <p:nvPr/>
        </p:nvCxnSpPr>
        <p:spPr>
          <a:xfrm flipH="1">
            <a:off x="2226039" y="2144329"/>
            <a:ext cx="1604976" cy="516425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5100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D953E3-50F3-1000-92D3-5BFB1B5EC7D8}"/>
              </a:ext>
            </a:extLst>
          </p:cNvPr>
          <p:cNvSpPr txBox="1"/>
          <p:nvPr/>
        </p:nvSpPr>
        <p:spPr>
          <a:xfrm>
            <a:off x="1005370" y="960841"/>
            <a:ext cx="2677459" cy="44823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arred obje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154241" y="1828800"/>
            <a:ext cx="1023828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>
          <a:extLst>
            <a:ext uri="{FF2B5EF4-FFF2-40B4-BE49-F238E27FC236}">
              <a16:creationId xmlns:a16="http://schemas.microsoft.com/office/drawing/2014/main" id="{1D22BD27-EC8E-0153-A7E4-8670058E6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1459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253" name="Google Shape;253;g344eaf56fbf_0_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8626" y="740946"/>
            <a:ext cx="10388049" cy="59274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344eaf56fbf_2_0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able for Share feature</a:t>
            </a:r>
            <a:endParaRPr dirty="0"/>
          </a:p>
        </p:txBody>
      </p:sp>
      <p:pic>
        <p:nvPicPr>
          <p:cNvPr id="260" name="Google Shape;260;g344eaf56fbf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4344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Google Shape;266;g36f76ef2d7d_0_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504573"/>
            <a:ext cx="12191999" cy="15396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67" name="Google Shape;267;g36f76ef2d7d_0_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-651625" y="3369849"/>
            <a:ext cx="13286651" cy="263799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3CA0385-69E7-0241-8BF9-78509C48485C}"/>
              </a:ext>
            </a:extLst>
          </p:cNvPr>
          <p:cNvSpPr txBox="1"/>
          <p:nvPr/>
        </p:nvSpPr>
        <p:spPr>
          <a:xfrm>
            <a:off x="481559" y="411991"/>
            <a:ext cx="66443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</a:rPr>
              <a:t>Sample data for share feature</a:t>
            </a:r>
            <a:endParaRPr lang="en-US" sz="2800" b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8446"/>
            <a:ext cx="12192000" cy="6561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4196603" y="2094263"/>
            <a:ext cx="3798793" cy="47214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shared </a:t>
            </a:r>
            <a:r>
              <a:rPr lang="en-US" sz="1800" dirty="0" err="1">
                <a:solidFill>
                  <a:schemeClr val="bg1"/>
                </a:solidFill>
              </a:rPr>
              <a:t>objetcs</a:t>
            </a:r>
            <a:r>
              <a:rPr lang="en-US" sz="1800" dirty="0">
                <a:solidFill>
                  <a:schemeClr val="bg1"/>
                </a:solidFill>
              </a:rPr>
              <a:t> with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E896A5B-E957-D947-73AD-393D0B1B8995}"/>
              </a:ext>
            </a:extLst>
          </p:cNvPr>
          <p:cNvCxnSpPr>
            <a:stCxn id="5" idx="1"/>
          </p:cNvCxnSpPr>
          <p:nvPr/>
        </p:nvCxnSpPr>
        <p:spPr>
          <a:xfrm flipH="1">
            <a:off x="2083633" y="2330334"/>
            <a:ext cx="2112970" cy="892551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68396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41565" y="259780"/>
            <a:ext cx="9976597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252DE9-3784-8C3C-50DC-E7D403017F72}"/>
              </a:ext>
            </a:extLst>
          </p:cNvPr>
          <p:cNvSpPr txBox="1"/>
          <p:nvPr/>
        </p:nvSpPr>
        <p:spPr>
          <a:xfrm>
            <a:off x="6486671" y="2806295"/>
            <a:ext cx="3798793" cy="472141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hared </a:t>
            </a:r>
            <a:r>
              <a:rPr lang="en-US" sz="1800" dirty="0" err="1">
                <a:solidFill>
                  <a:schemeClr val="tx1"/>
                </a:solidFill>
              </a:rPr>
              <a:t>objetcs</a:t>
            </a:r>
            <a:r>
              <a:rPr lang="en-US" sz="1800" dirty="0">
                <a:solidFill>
                  <a:schemeClr val="tx1"/>
                </a:solidFill>
              </a:rPr>
              <a:t> with an user</a:t>
            </a:r>
          </a:p>
        </p:txBody>
      </p:sp>
    </p:spTree>
    <p:extLst>
      <p:ext uri="{BB962C8B-B14F-4D97-AF65-F5344CB8AC3E}">
        <p14:creationId xmlns:p14="http://schemas.microsoft.com/office/powerpoint/2010/main" val="41936245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25548"/>
            <a:ext cx="12192000" cy="58069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3757142" y="2375158"/>
            <a:ext cx="3318436" cy="40042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recent objects of an user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25CA0F1-6322-80FC-1D6C-B37C7E3E4917}"/>
              </a:ext>
            </a:extLst>
          </p:cNvPr>
          <p:cNvCxnSpPr>
            <a:stCxn id="6" idx="1"/>
          </p:cNvCxnSpPr>
          <p:nvPr/>
        </p:nvCxnSpPr>
        <p:spPr>
          <a:xfrm flipH="1">
            <a:off x="2046157" y="2575370"/>
            <a:ext cx="1710985" cy="1412014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12556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95A373A-629B-7567-4238-3055D8FFA0B5}"/>
              </a:ext>
            </a:extLst>
          </p:cNvPr>
          <p:cNvSpPr txBox="1"/>
          <p:nvPr/>
        </p:nvSpPr>
        <p:spPr>
          <a:xfrm>
            <a:off x="1096388" y="883637"/>
            <a:ext cx="3318436" cy="40042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recent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8" y="1409076"/>
            <a:ext cx="91215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7765"/>
            <a:ext cx="12192000" cy="65224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4404285" y="2861311"/>
            <a:ext cx="3383430" cy="4123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trash objects of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890EE7C-2C36-E50D-1D34-8AD37943F163}"/>
              </a:ext>
            </a:extLst>
          </p:cNvPr>
          <p:cNvCxnSpPr>
            <a:stCxn id="5" idx="1"/>
          </p:cNvCxnSpPr>
          <p:nvPr/>
        </p:nvCxnSpPr>
        <p:spPr>
          <a:xfrm flipH="1">
            <a:off x="2113613" y="3067499"/>
            <a:ext cx="2290672" cy="1167222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4551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B51B329-7A07-A54A-F750-2AE5E660B259}"/>
              </a:ext>
            </a:extLst>
          </p:cNvPr>
          <p:cNvSpPr txBox="1"/>
          <p:nvPr/>
        </p:nvSpPr>
        <p:spPr>
          <a:xfrm>
            <a:off x="529328" y="597796"/>
            <a:ext cx="3383430" cy="41237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trash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EBC993-D10E-F154-89F6-F6E38545C3A3}"/>
              </a:ext>
            </a:extLst>
          </p:cNvPr>
          <p:cNvSpPr txBox="1"/>
          <p:nvPr/>
        </p:nvSpPr>
        <p:spPr>
          <a:xfrm>
            <a:off x="529328" y="1424066"/>
            <a:ext cx="896411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5" y="1380565"/>
            <a:ext cx="2761129" cy="129091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/>
          <p:nvPr/>
        </p:nvCxnSpPr>
        <p:spPr>
          <a:xfrm flipV="1">
            <a:off x="2922494" y="735106"/>
            <a:ext cx="1655482" cy="878541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715435" y="460188"/>
            <a:ext cx="1655482" cy="41835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/>
          <p:nvPr/>
        </p:nvCxnSpPr>
        <p:spPr>
          <a:xfrm flipV="1">
            <a:off x="4309035" y="2020047"/>
            <a:ext cx="2103718" cy="1267012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520329" y="1643529"/>
            <a:ext cx="2324847" cy="37651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388259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noProof="0" dirty="0">
                <a:solidFill>
                  <a:srgbClr val="FF0000"/>
                </a:solidFill>
              </a:rPr>
              <a:t>Google Drive Database Design</a:t>
            </a:r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185251" y="700030"/>
            <a:ext cx="1655482" cy="41835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449719" y="741865"/>
            <a:ext cx="2324847" cy="3765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757003" y="1776334"/>
            <a:ext cx="43771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312702" y="1941226"/>
            <a:ext cx="4122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Product UI</a:t>
            </a:r>
            <a:endParaRPr/>
          </a:p>
        </p:txBody>
      </p:sp>
      <p:pic>
        <p:nvPicPr>
          <p:cNvPr id="274" name="Google Shape;274;g344eaf56fbf_0_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2000" y="1370875"/>
            <a:ext cx="5360433" cy="2588675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g344eaf56fbf_0_59"/>
          <p:cNvSpPr/>
          <p:nvPr/>
        </p:nvSpPr>
        <p:spPr>
          <a:xfrm>
            <a:off x="2809373" y="2372007"/>
            <a:ext cx="1451700" cy="3225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6" name="Google Shape;276;g344eaf56fbf_0_59"/>
          <p:cNvSpPr txBox="1"/>
          <p:nvPr/>
        </p:nvSpPr>
        <p:spPr>
          <a:xfrm>
            <a:off x="4719506" y="2439869"/>
            <a:ext cx="623700" cy="1869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Duration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77" name="Google Shape;277;g344eaf56fbf_0_59"/>
          <p:cNvCxnSpPr>
            <a:stCxn id="276" idx="1"/>
            <a:endCxn id="275" idx="3"/>
          </p:cNvCxnSpPr>
          <p:nvPr/>
        </p:nvCxnSpPr>
        <p:spPr>
          <a:xfrm rot="10800000">
            <a:off x="4261106" y="2533319"/>
            <a:ext cx="4584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78" name="Google Shape;278;g344eaf56fbf_0_59"/>
          <p:cNvSpPr/>
          <p:nvPr/>
        </p:nvSpPr>
        <p:spPr>
          <a:xfrm>
            <a:off x="4142222" y="2711586"/>
            <a:ext cx="1141800" cy="11970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9" name="Google Shape;279;g344eaf56fbf_0_59"/>
          <p:cNvSpPr txBox="1"/>
          <p:nvPr/>
        </p:nvSpPr>
        <p:spPr>
          <a:xfrm>
            <a:off x="5615149" y="3225201"/>
            <a:ext cx="573000" cy="1698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Product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80" name="Google Shape;280;g344eaf56fbf_0_59"/>
          <p:cNvCxnSpPr>
            <a:stCxn id="279" idx="1"/>
            <a:endCxn id="278" idx="3"/>
          </p:cNvCxnSpPr>
          <p:nvPr/>
        </p:nvCxnSpPr>
        <p:spPr>
          <a:xfrm rot="10800000">
            <a:off x="5283949" y="3310101"/>
            <a:ext cx="3312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281" name="Google Shape;281;g344eaf56fbf_0_5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510049" y="3433850"/>
            <a:ext cx="5261827" cy="3202325"/>
          </a:xfrm>
          <a:prstGeom prst="rect">
            <a:avLst/>
          </a:prstGeom>
          <a:noFill/>
          <a:ln>
            <a:noFill/>
          </a:ln>
        </p:spPr>
      </p:pic>
      <p:sp>
        <p:nvSpPr>
          <p:cNvPr id="282" name="Google Shape;282;g344eaf56fbf_0_59"/>
          <p:cNvSpPr/>
          <p:nvPr/>
        </p:nvSpPr>
        <p:spPr>
          <a:xfrm>
            <a:off x="8611850" y="5352900"/>
            <a:ext cx="458400" cy="186900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</a:endParaRPr>
          </a:p>
        </p:txBody>
      </p:sp>
      <p:sp>
        <p:nvSpPr>
          <p:cNvPr id="283" name="Google Shape;283;g344eaf56fbf_0_59"/>
          <p:cNvSpPr txBox="1"/>
          <p:nvPr/>
        </p:nvSpPr>
        <p:spPr>
          <a:xfrm>
            <a:off x="6116475" y="4077650"/>
            <a:ext cx="850200" cy="2754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50">
                <a:solidFill>
                  <a:schemeClr val="dk1"/>
                </a:solidFill>
              </a:rPr>
              <a:t>Promotion</a:t>
            </a:r>
            <a:endParaRPr sz="950">
              <a:solidFill>
                <a:schemeClr val="dk1"/>
              </a:solidFill>
            </a:endParaRPr>
          </a:p>
        </p:txBody>
      </p:sp>
      <p:cxnSp>
        <p:nvCxnSpPr>
          <p:cNvPr id="284" name="Google Shape;284;g344eaf56fbf_0_59"/>
          <p:cNvCxnSpPr>
            <a:stCxn id="283" idx="3"/>
            <a:endCxn id="282" idx="1"/>
          </p:cNvCxnSpPr>
          <p:nvPr/>
        </p:nvCxnSpPr>
        <p:spPr>
          <a:xfrm>
            <a:off x="6966675" y="4215350"/>
            <a:ext cx="1645200" cy="12309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" name="Google Shape;296;g36f76ef2d7d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4375" y="848150"/>
            <a:ext cx="11077575" cy="2867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7" name="Google Shape;297;g36f76ef2d7d_0_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65375" y="3867575"/>
            <a:ext cx="11006575" cy="25888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D41FD66-AF6C-67C6-B5E8-6BA35902437A}"/>
              </a:ext>
            </a:extLst>
          </p:cNvPr>
          <p:cNvSpPr txBox="1"/>
          <p:nvPr/>
        </p:nvSpPr>
        <p:spPr>
          <a:xfrm>
            <a:off x="678182" y="377742"/>
            <a:ext cx="2324847" cy="596619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s can be bought by an us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dirty="0">
                <a:solidFill>
                  <a:srgbClr val="FF0000"/>
                </a:solidFill>
              </a:rPr>
              <a:t>Resolve permission problem in Google Drive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638795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" name="Google Shape;316;g36f56cd1dea_1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903425"/>
            <a:ext cx="8411975" cy="2294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36f56cd1dea_1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2400" y="3754325"/>
            <a:ext cx="5714400" cy="266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36f56cd1dea_1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235125" y="3754325"/>
            <a:ext cx="4189044" cy="2661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lvl="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</a:pPr>
            <a:r>
              <a:rPr lang="en-GB" sz="4800" dirty="0">
                <a:solidFill>
                  <a:srgbClr val="FF0000"/>
                </a:solidFill>
              </a:rPr>
              <a:t>Full-text Search with BM25</a:t>
            </a:r>
          </a:p>
        </p:txBody>
      </p:sp>
    </p:spTree>
    <p:extLst>
      <p:ext uri="{BB962C8B-B14F-4D97-AF65-F5344CB8AC3E}">
        <p14:creationId xmlns:p14="http://schemas.microsoft.com/office/powerpoint/2010/main" val="4276421325"/>
      </p:ext>
    </p:extLst>
  </p:cSld>
  <p:clrMapOvr>
    <a:masterClrMapping/>
  </p:clrMapOvr>
  <p:transition spd="slow">
    <p:push dir="u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How to score in BM25 ?</a:t>
            </a:r>
            <a:endParaRPr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WHAT IS BM25 ?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Google Drive functions and database design as followed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Resolve Permission in Google Drive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Full-text Search with BM25</a:t>
            </a:r>
            <a:endParaRPr sz="2600" dirty="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 dirty="0"/>
              <a:t>Q&amp;A</a:t>
            </a:r>
            <a:endParaRPr sz="2600" dirty="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/>
              <a:t>Agenda</a:t>
            </a:r>
            <a:endParaRPr/>
          </a:p>
        </p:txBody>
      </p:sp>
      <p:pic>
        <p:nvPicPr>
          <p:cNvPr id="4" name="Picture Placeholder 5">
            <a:extLst>
              <a:ext uri="{FF2B5EF4-FFF2-40B4-BE49-F238E27FC236}">
                <a16:creationId xmlns:a16="http://schemas.microsoft.com/office/drawing/2014/main" id="{DE904735-A40A-530F-8CF6-1439942306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"/>
          <p:cNvSpPr txBox="1">
            <a:spLocks noGrp="1"/>
          </p:cNvSpPr>
          <p:nvPr>
            <p:ph type="subTitle" idx="1"/>
          </p:nvPr>
        </p:nvSpPr>
        <p:spPr>
          <a:xfrm>
            <a:off x="140945" y="4480023"/>
            <a:ext cx="11331300" cy="3693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l="-1609" t="-24998" b="-351623"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 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n(qi) is the number of documents containing qi a.k.a df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|D| : Length of document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avgdl : Average document length in the collection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4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4"/>
          <p:cNvSpPr txBox="1">
            <a:spLocks noGrp="1"/>
          </p:cNvSpPr>
          <p:nvPr>
            <p:ph type="subTitle" idx="1"/>
          </p:nvPr>
        </p:nvSpPr>
        <p:spPr>
          <a:xfrm>
            <a:off x="223655" y="3854005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k_1</a:t>
            </a:r>
            <a:r>
              <a:rPr lang="en-GB"/>
              <a:t>: A parameter (typically 1.2 to 2.0) controlling the impact of term frequency. Higher values allow more influence from frequent terms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b</a:t>
            </a:r>
            <a:r>
              <a:rPr lang="en-GB"/>
              <a:t>: A parameter (typically 0.75) controlling the effect of document length normalization. b=0 disables length normalization, while fully normalizes by document length.</a:t>
            </a:r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HOW DOES IT WORKS ? </a:t>
            </a:r>
            <a:endParaRPr dirty="0"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endParaRPr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/>
          </a:p>
        </p:txBody>
      </p:sp>
      <p:pic>
        <p:nvPicPr>
          <p:cNvPr id="383" name="Google Shape;383;g36f56cd1dea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825" y="1098550"/>
            <a:ext cx="11887203" cy="53893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3CE8DB58-4689-D514-DFC7-61EF67013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34102E69-A0D8-95F1-B75A-20A6FB0C0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E2F2D270-5FE6-071B-6A9B-F1637A4578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C889EF-BFCC-B503-F822-E14D4BB29A90}"/>
              </a:ext>
            </a:extLst>
          </p:cNvPr>
          <p:cNvSpPr txBox="1"/>
          <p:nvPr/>
        </p:nvSpPr>
        <p:spPr>
          <a:xfrm>
            <a:off x="6153462" y="2608289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et 5 most relevant files/folder related to keyword ‘report’</a:t>
            </a:r>
          </a:p>
        </p:txBody>
      </p:sp>
    </p:spTree>
    <p:extLst>
      <p:ext uri="{BB962C8B-B14F-4D97-AF65-F5344CB8AC3E}">
        <p14:creationId xmlns:p14="http://schemas.microsoft.com/office/powerpoint/2010/main" val="13360937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412E31-645A-6A26-2B11-E7F232629AA0}"/>
              </a:ext>
            </a:extLst>
          </p:cNvPr>
          <p:cNvSpPr txBox="1"/>
          <p:nvPr/>
        </p:nvSpPr>
        <p:spPr>
          <a:xfrm>
            <a:off x="307299" y="891915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Get 5 most relevant files/folder related to keyword ‘report’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524656" y="2420911"/>
            <a:ext cx="1016333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SELECT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TypeId</a:t>
            </a:r>
            <a:r>
              <a:rPr lang="en-US" sz="1800" dirty="0"/>
              <a:t>,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Id</a:t>
            </a:r>
            <a:r>
              <a:rPr lang="en-US" sz="1800" dirty="0"/>
              <a:t>, 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Term</a:t>
            </a:r>
            <a:r>
              <a:rPr lang="en-US" sz="1800" dirty="0"/>
              <a:t>, </a:t>
            </a:r>
          </a:p>
          <a:p>
            <a:r>
              <a:rPr lang="en-US" sz="1800" dirty="0"/>
              <a:t>	t.BM25</a:t>
            </a:r>
          </a:p>
          <a:p>
            <a:r>
              <a:rPr lang="en-US" sz="1800" dirty="0"/>
              <a:t>FROM </a:t>
            </a:r>
            <a:r>
              <a:rPr lang="en-US" sz="1800" dirty="0" err="1"/>
              <a:t>SearchIndex</a:t>
            </a:r>
            <a:r>
              <a:rPr lang="en-US" sz="1800" dirty="0"/>
              <a:t> s</a:t>
            </a:r>
          </a:p>
          <a:p>
            <a:r>
              <a:rPr lang="en-US" sz="1800" dirty="0"/>
              <a:t>join TermBM25 t on </a:t>
            </a:r>
            <a:r>
              <a:rPr lang="en-US" sz="1800" dirty="0" err="1"/>
              <a:t>s.Term</a:t>
            </a:r>
            <a:r>
              <a:rPr lang="en-US" sz="1800" dirty="0"/>
              <a:t> = </a:t>
            </a:r>
            <a:r>
              <a:rPr lang="en-US" sz="1800" dirty="0" err="1"/>
              <a:t>t.Term</a:t>
            </a:r>
            <a:endParaRPr lang="en-US" sz="1800" dirty="0"/>
          </a:p>
          <a:p>
            <a:r>
              <a:rPr lang="en-US" sz="1800" dirty="0"/>
              <a:t>left join Folder f on </a:t>
            </a:r>
            <a:r>
              <a:rPr lang="en-US" sz="1800" dirty="0" err="1"/>
              <a:t>f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1</a:t>
            </a:r>
          </a:p>
          <a:p>
            <a:r>
              <a:rPr lang="en-US" sz="1800" dirty="0"/>
              <a:t>left join Files fi on </a:t>
            </a:r>
            <a:r>
              <a:rPr lang="en-US" sz="1800" dirty="0" err="1"/>
              <a:t>fi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2</a:t>
            </a:r>
          </a:p>
          <a:p>
            <a:r>
              <a:rPr lang="en-US" sz="1800" dirty="0"/>
              <a:t>WHERE </a:t>
            </a:r>
            <a:r>
              <a:rPr lang="en-US" sz="1800" dirty="0" err="1"/>
              <a:t>t.Term</a:t>
            </a:r>
            <a:r>
              <a:rPr lang="en-US" sz="1800" dirty="0"/>
              <a:t> IN ('report')</a:t>
            </a:r>
          </a:p>
          <a:p>
            <a:r>
              <a:rPr lang="en-US" sz="1800" dirty="0"/>
              <a:t>ORDER BY t.BM25 DESC;</a:t>
            </a:r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800" dirty="0">
                <a:solidFill>
                  <a:srgbClr val="FF0000"/>
                </a:solidFill>
              </a:rPr>
              <a:t>Google Drive functions and database design as followed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FF0000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78883688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/>
          </a:p>
        </p:txBody>
      </p:sp>
      <p:pic>
        <p:nvPicPr>
          <p:cNvPr id="213" name="Google Shape;213;g344eaf56fbf_0_2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050" y="931100"/>
            <a:ext cx="11280951" cy="58108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ACD0F9C-7301-0C32-91A0-349957E5D075}"/>
              </a:ext>
            </a:extLst>
          </p:cNvPr>
          <p:cNvSpPr/>
          <p:nvPr/>
        </p:nvSpPr>
        <p:spPr>
          <a:xfrm>
            <a:off x="479050" y="931100"/>
            <a:ext cx="2308486" cy="742013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cen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5A1526D-7C36-76F9-0E99-D01A579EC4FA}"/>
              </a:ext>
            </a:extLst>
          </p:cNvPr>
          <p:cNvCxnSpPr>
            <a:cxnSpLocks/>
          </p:cNvCxnSpPr>
          <p:nvPr/>
        </p:nvCxnSpPr>
        <p:spPr>
          <a:xfrm>
            <a:off x="771993" y="1673113"/>
            <a:ext cx="794479" cy="1527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AAB8BA30-F239-E72E-5BC8-C0D70F647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919577-A20E-1BE8-FEAB-8EFFED4C0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982943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7E4B3C23-253F-6570-8C73-7E51B2DB706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4414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C5DE4F0D-F9E9-A81B-FC37-F223A73F8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1360D1-8C1E-465B-56E5-5C3DAF3C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85" y="1098000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D3DEF6F6-5264-6775-A139-2C8610CBAEE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451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atabase Structure For First Screen</a:t>
            </a:r>
            <a:endParaRPr/>
          </a:p>
        </p:txBody>
      </p:sp>
      <p:pic>
        <p:nvPicPr>
          <p:cNvPr id="219" name="Google Shape;219;g344eaf56fbf_3_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9220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8</TotalTime>
  <Words>3099</Words>
  <Application>Microsoft Office PowerPoint</Application>
  <PresentationFormat>Widescreen</PresentationFormat>
  <Paragraphs>535</Paragraphs>
  <Slides>50</Slides>
  <Notes>5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5" baseType="lpstr">
      <vt:lpstr>Arial</vt:lpstr>
      <vt:lpstr>Calibri</vt:lpstr>
      <vt:lpstr>Cascadia Mono</vt:lpstr>
      <vt:lpstr>bbv template EN</vt:lpstr>
      <vt:lpstr>think-cell Slide</vt:lpstr>
      <vt:lpstr>PowerPoint Presentation</vt:lpstr>
      <vt:lpstr>PowerPoint Presentation</vt:lpstr>
      <vt:lpstr>Google Drive Database Design</vt:lpstr>
      <vt:lpstr>Agenda</vt:lpstr>
      <vt:lpstr>Google Drive functions and database design as followed</vt:lpstr>
      <vt:lpstr>First Screen</vt:lpstr>
      <vt:lpstr>First Screen</vt:lpstr>
      <vt:lpstr>First Screen</vt:lpstr>
      <vt:lpstr>Database Structure For First Screen</vt:lpstr>
      <vt:lpstr>PowerPoint Presentation</vt:lpstr>
      <vt:lpstr>PowerPoint Presentation</vt:lpstr>
      <vt:lpstr>PowerPoint Presentation</vt:lpstr>
      <vt:lpstr>Table For Setting Feature</vt:lpstr>
      <vt:lpstr>Table For Setting Feature</vt:lpstr>
      <vt:lpstr>Table For Setting Feature</vt:lpstr>
      <vt:lpstr>Setting Sample Data</vt:lpstr>
      <vt:lpstr>PowerPoint Presentation</vt:lpstr>
      <vt:lpstr>PowerPoint Presentation</vt:lpstr>
      <vt:lpstr>PowerPoint Presentation</vt:lpstr>
      <vt:lpstr>Share</vt:lpstr>
      <vt:lpstr>Table for Share fea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ct UI</vt:lpstr>
      <vt:lpstr>Table for Product Feature</vt:lpstr>
      <vt:lpstr>PowerPoint Presentation</vt:lpstr>
      <vt:lpstr>PowerPoint Presentation</vt:lpstr>
      <vt:lpstr>Resolve permission problem in Google Drive</vt:lpstr>
      <vt:lpstr>Add column path to table folder</vt:lpstr>
      <vt:lpstr>PowerPoint Presentation</vt:lpstr>
      <vt:lpstr>Full-text Search with BM25</vt:lpstr>
      <vt:lpstr>WHAT IS BM25 ?</vt:lpstr>
      <vt:lpstr>PowerPoint Presentation</vt:lpstr>
      <vt:lpstr>PowerPoint Presentation</vt:lpstr>
      <vt:lpstr>HOW DOES IT WORKS ? </vt:lpstr>
      <vt:lpstr>PowerPoint Present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  <vt:lpstr>SQL Implement Full Text Search BM25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tran</cp:lastModifiedBy>
  <cp:revision>13</cp:revision>
  <dcterms:created xsi:type="dcterms:W3CDTF">2025-07-10T03:51:23Z</dcterms:created>
  <dcterms:modified xsi:type="dcterms:W3CDTF">2025-08-10T05:08:21Z</dcterms:modified>
</cp:coreProperties>
</file>